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18810615-CB09-4624-BB44-29963EF48C41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F9ABA048-420E-442E-AD02-583F115EB91D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s-ES" sz="1400" b="1" dirty="0">
                  <a:solidFill>
                    <a:srgbClr val="FFFFFF"/>
                  </a:solidFill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8B9EC654-D84D-4520-BD14-95292BA95FD6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8422D032-1389-4567-9C15-BD33DB6122C0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0E87FA1F-0B1F-4823-A6B3-56BC47247A0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 dirty="0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2" y="1479548"/>
            <a:ext cx="7997825" cy="307975"/>
          </a:xfrm>
        </p:spPr>
        <p:txBody>
          <a:bodyPr/>
          <a:lstStyle/>
          <a:p>
            <a:r>
              <a:rPr lang="es-ES" dirty="0"/>
              <a:t>Nuevo PLC S7-1500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, </a:t>
            </a:r>
            <a:r>
              <a:rPr lang="en-US" sz="800" kern="0" dirty="0" err="1">
                <a:solidFill>
                  <a:srgbClr val="000000"/>
                </a:solidFill>
              </a:rPr>
              <a:t>Eficiencia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lang="es-ES" sz="800" kern="0" dirty="0">
                <a:solidFill>
                  <a:srgbClr val="000000"/>
                </a:solidFill>
              </a:rPr>
              <a:t>Todo el equipo de embalaje (excepto </a:t>
            </a:r>
            <a:r>
              <a:rPr lang="es-ES" sz="800" kern="0" dirty="0" err="1">
                <a:solidFill>
                  <a:srgbClr val="000000"/>
                </a:solidFill>
              </a:rPr>
              <a:t>paletizador</a:t>
            </a:r>
            <a:r>
              <a:rPr lang="es-ES" sz="800" kern="0" dirty="0">
                <a:solidFill>
                  <a:srgbClr val="000000"/>
                </a:solidFill>
              </a:rPr>
              <a:t> P4)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CLC-05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5605" y="2196280"/>
            <a:ext cx="3866263" cy="3259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Optimización del rendimient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umento de la fiabilidad y la productividad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Diseño funcional, fácil manejo y máxima facilidad de uso en muchos detalles nuevos: puentes de potencial integrados, elementos de blindaje que se pueden montar sin herramientas, conectores frontales uniformes, etiquetado ergonómico de terminal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utonomía del personal de mantenimient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Mayor capacidad de memoria que permite tamaños de formato adicional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Nuevas funcionalidades posibles como opciones (ajustes más precisos, tiempos de respuesta más cortos y tiempo de procesamiento de comandos de hasta 1ns en la CPU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Diagnóstico facilitado para el mantenimient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lto nivel de seguridad y protección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umento del ciclo de vida de la máquina más de 50 000h</a:t>
            </a:r>
            <a:endParaRPr kumimoji="0" lang="es-E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6150" y="2197464"/>
            <a:ext cx="3910143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Suministro de Siemens PLC S7-1500 de última tecnología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Instalado con </a:t>
            </a:r>
            <a:r>
              <a:rPr lang="es-ES" sz="1100" dirty="0" err="1">
                <a:solidFill>
                  <a:srgbClr val="000000"/>
                </a:solidFill>
              </a:rPr>
              <a:t>Controller</a:t>
            </a:r>
            <a:r>
              <a:rPr lang="es-ES" sz="1100" dirty="0">
                <a:solidFill>
                  <a:srgbClr val="000000"/>
                </a:solidFill>
              </a:rPr>
              <a:t> TIA Portal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Licencia para comprar directamente por el cliente en Siemens</a:t>
            </a:r>
          </a:p>
        </p:txBody>
      </p:sp>
      <p:pic>
        <p:nvPicPr>
          <p:cNvPr id="23" name="Image 2" descr="image003">
            <a:extLst>
              <a:ext uri="{FF2B5EF4-FFF2-40B4-BE49-F238E27FC236}">
                <a16:creationId xmlns:a16="http://schemas.microsoft.com/office/drawing/2014/main" id="{C42F2311-CB65-47AC-B580-EFF8D0AC5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892" y="3339953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age 32">
            <a:extLst>
              <a:ext uri="{FF2B5EF4-FFF2-40B4-BE49-F238E27FC236}">
                <a16:creationId xmlns:a16="http://schemas.microsoft.com/office/drawing/2014/main" id="{F38EAD6C-68FA-4C17-806F-EF69F177EF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388" y="4598251"/>
            <a:ext cx="2666876" cy="111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1</TotalTime>
  <Words>177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1-06-09T13:4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3:42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